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6E0C"/>
    <a:srgbClr val="FD983D"/>
    <a:srgbClr val="F376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5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8D527-CF19-4703-A79D-9630D7B28A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AF1B65-71F2-41D3-952B-F5CFB59A6D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1DB47-CFC2-4ACF-84AF-6DAC57FF4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FA1A12-EBEB-4003-B210-3A90F1BB9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EC9B35-7D67-40EF-9454-4A5E8A791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554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D691C-389E-4325-9559-8B6224614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470426-F013-465F-8DDE-7B66690E2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4EC3A4-E504-4C23-A796-605E41984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9C09E2-9BF8-4981-B9E0-C061F1EC2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F33F3-7FB7-4EE1-B348-A7A56444DA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47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178536-BC7D-4567-9D89-70E7592D66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12EBC1D-BB42-47AA-B29E-7D65A492BF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9FC-065A-4FB2-BD42-871C7AB7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477D0-F4CB-49B9-ACF5-01DB4B549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F4DCA-EA61-4CF2-8964-F858D397A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56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55C8E-58A8-4029-802A-13DEE507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0C326-71B9-4DAE-B9A6-840C8FA71B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91B968-8B37-4AF0-8A4E-629C09862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AEC1C9-949A-44DA-97CD-660B5193A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28E9D2-4FE9-4645-AFD4-B437DF39E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376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2EFD-4704-468D-B7E1-A4E377D00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AED95E-9BD1-4C26-9604-D896943D3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A56D92-0FF7-408D-832E-C394D53151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CB6A21-A4F9-4C38-BD1D-F8037F16E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CC6AA-DCA5-42A4-B6EB-2CDFC9AA8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906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6AA93-D64B-4F9C-9D6B-18EC452B4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F7898-D6D9-497F-9027-6AB9AA41EF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98BE8C-8E6A-4853-9074-B8B8A3BBA2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3F0043-5E38-4926-B31A-6B5B58DCB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480388-CF10-4DFF-8877-CAED7E329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4767E7-540E-4758-B6BD-C4C35AE8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789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D13A8-B6DA-4320-AC06-7797698F6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9D477-1F3C-49C3-907D-3401099871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28C060-2607-4FB1-AB40-7850FC544D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DB664F-8913-40D9-8FD3-3B7AACE431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35D169-3063-4F2A-BEE9-903B934936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727274-A41A-4486-BAF1-31DB5774F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8AE081-DF96-4829-8DA6-E2035BEDA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D62C27-CA5B-4A9A-8C09-BC1188D2B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685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38709-8589-4916-8B17-BD658ADDC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4B553D-AD58-4E64-900F-AE15E9561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4F05C8-75FA-4D26-8B5C-31768F698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0E3629-265A-4C2B-8BD7-31D3144BA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90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9B0665-0C4B-452D-92B9-53D96AE9B7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B1A04E-3000-4A0F-9407-9EDF4028E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EB470C-B9A2-4673-9AC1-7BA5609C0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949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441AF-3CAE-487B-8B9D-FBD713426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4856C-9339-40C8-B960-4EA451C46D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DB87D7-1831-4838-9839-D58374B790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0A56BE-ECFB-444C-8620-BBC82BBE9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78898C-3ED5-4F38-A07B-1E7912F47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581A71-4175-4DC0-83A9-E1B0F6B2F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19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645C63-811B-41A8-A25E-D6F2BBAFF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BD2765-21C1-40EA-AF2B-BF38FBEFFF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2559E-2770-4691-8575-150FD9600B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0D65DF-F657-4CC2-9ED7-E2E1862DD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39A8BC-1354-4B91-8D1C-921245675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621A0B-1B8D-49C9-BAE1-F73662C86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223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CAFEBD-5C1B-4508-B07D-73BF28CEF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7113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15" imgW="359" imgH="358" progId="TCLayout.ActiveDocument.1">
                  <p:embed/>
                </p:oleObj>
              </mc:Choice>
              <mc:Fallback>
                <p:oleObj name="think-cell Slide" r:id="rId1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A63EA8-DAFB-4819-B1DC-67FE813A0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E4572C-5FB2-4593-8AE4-922F2C9FB0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C098C-CB9D-45BD-90FB-050F0DD3BD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FF5B0-519F-4690-AF40-9862B09FEDAF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A2278-D72C-48BF-AD54-0589EA40DB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A6FE6F-F3F3-4C09-B345-5DC9A53D8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38AFB-F8BA-4448-8AA5-D85D5D9DC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5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hyperlink" Target="http://www.facebook.com/hssus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hyperlink" Target="http://www.hssus.org/sny" TargetMode="External"/><Relationship Id="rId2" Type="http://schemas.openxmlformats.org/officeDocument/2006/relationships/tags" Target="../tags/tag3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5" Type="http://schemas.openxmlformats.org/officeDocument/2006/relationships/image" Target="../media/image8.png"/><Relationship Id="rId10" Type="http://schemas.openxmlformats.org/officeDocument/2006/relationships/image" Target="../media/image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png"/><Relationship Id="rId1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06F22A-B1A8-404E-9860-F4A1FB7ACC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620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06F22A-B1A8-404E-9860-F4A1FB7AC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99" name="Picture 27" descr="Free Decorative Designs Cliparts, Download Free Clip Art, Free Clip Art on  Clipart Library">
            <a:extLst>
              <a:ext uri="{FF2B5EF4-FFF2-40B4-BE49-F238E27FC236}">
                <a16:creationId xmlns:a16="http://schemas.microsoft.com/office/drawing/2014/main" id="{0D22041B-FFC2-4175-89E9-0949E1D3D0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9000"/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654" y="2401405"/>
            <a:ext cx="3285950" cy="2894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7" descr="Free Decorative Designs Cliparts, Download Free Clip Art, Free Clip Art on  Clipart Library">
            <a:extLst>
              <a:ext uri="{FF2B5EF4-FFF2-40B4-BE49-F238E27FC236}">
                <a16:creationId xmlns:a16="http://schemas.microsoft.com/office/drawing/2014/main" id="{B84B4264-37D2-467F-BFF7-F48309295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9000"/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92152" y="2401405"/>
            <a:ext cx="3426927" cy="2898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Sunrise and sunset: interesting facts about the golden hour">
            <a:extLst>
              <a:ext uri="{FF2B5EF4-FFF2-40B4-BE49-F238E27FC236}">
                <a16:creationId xmlns:a16="http://schemas.microsoft.com/office/drawing/2014/main" id="{B77A1875-DAC5-4951-BCC1-2518959EF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3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848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1048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Hindu Swayamsevak Sangh USA">
            <a:extLst>
              <a:ext uri="{FF2B5EF4-FFF2-40B4-BE49-F238E27FC236}">
                <a16:creationId xmlns:a16="http://schemas.microsoft.com/office/drawing/2014/main" id="{CC255EF2-6974-4980-B79D-7539F0894741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68" y="5319863"/>
            <a:ext cx="1034329" cy="10838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99C18A2-157F-4141-A051-6119BD447A7C}"/>
              </a:ext>
            </a:extLst>
          </p:cNvPr>
          <p:cNvSpPr/>
          <p:nvPr/>
        </p:nvSpPr>
        <p:spPr>
          <a:xfrm>
            <a:off x="1915886" y="-12183"/>
            <a:ext cx="8360228" cy="61180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n>
                  <a:solidFill>
                    <a:schemeClr val="accent2">
                      <a:lumMod val="50000"/>
                    </a:schemeClr>
                  </a:solidFill>
                </a:ln>
                <a:solidFill>
                  <a:srgbClr val="F36E0C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</a:effectLst>
                <a:latin typeface="Bell MT" panose="02020503060305020303" pitchFamily="18" charset="0"/>
              </a:rPr>
              <a:t>Hindu Swayamsevak Sang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4A4050-852D-44CC-9F21-29E37E7185E0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60000"/>
          </a:blip>
          <a:stretch>
            <a:fillRect/>
          </a:stretch>
        </p:blipFill>
        <p:spPr>
          <a:xfrm>
            <a:off x="136773" y="11048"/>
            <a:ext cx="2226399" cy="1315129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4BC060-0A06-4B46-A6BD-0909328F3C7E}"/>
              </a:ext>
            </a:extLst>
          </p:cNvPr>
          <p:cNvSpPr/>
          <p:nvPr/>
        </p:nvSpPr>
        <p:spPr>
          <a:xfrm>
            <a:off x="4764087" y="531378"/>
            <a:ext cx="2663826" cy="3139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Monotype Corsiva" panose="03010101010201010101" pitchFamily="66" charset="0"/>
              </a:rPr>
              <a:t>present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F1F61C6-C7BB-4C91-B945-781184A23C22}"/>
              </a:ext>
            </a:extLst>
          </p:cNvPr>
          <p:cNvSpPr/>
          <p:nvPr/>
        </p:nvSpPr>
        <p:spPr>
          <a:xfrm>
            <a:off x="0" y="1227244"/>
            <a:ext cx="12192000" cy="61180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0" b="1" spc="150" dirty="0">
                <a:ln>
                  <a:solidFill>
                    <a:schemeClr val="accent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glow rad="228600">
                    <a:schemeClr val="accent2">
                      <a:satMod val="175000"/>
                      <a:alpha val="40000"/>
                    </a:schemeClr>
                  </a:glow>
                  <a:outerShdw blurRad="75057" dist="38100" dir="5400000" sy="-20000" rotWithShape="0">
                    <a:prstClr val="black">
                      <a:alpha val="25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</a:rPr>
              <a:t>Health for Humanity Yogathon 202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F7EB65-04E9-4F29-B535-97AD88853DCD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04348" y="5162873"/>
            <a:ext cx="9383305" cy="1739690"/>
          </a:xfrm>
          <a:prstGeom prst="rect">
            <a:avLst/>
          </a:prstGeom>
          <a:effectLst>
            <a:glow rad="139700">
              <a:schemeClr val="bg1">
                <a:alpha val="40000"/>
              </a:schemeClr>
            </a:glow>
          </a:effectLst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50A6627-D38A-4991-848C-34C5CBCFB3C3}"/>
              </a:ext>
            </a:extLst>
          </p:cNvPr>
          <p:cNvSpPr/>
          <p:nvPr/>
        </p:nvSpPr>
        <p:spPr>
          <a:xfrm>
            <a:off x="4703609" y="2193740"/>
            <a:ext cx="6701836" cy="50562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2">
                    <a:lumMod val="25000"/>
                  </a:schemeClr>
                </a:solidFill>
                <a:effectLst/>
                <a:latin typeface="Monotype Corsiva" panose="03010101010201010101" pitchFamily="66" charset="0"/>
              </a:rPr>
              <a:t>January 16</a:t>
            </a:r>
            <a:r>
              <a:rPr lang="en-US" sz="4000" b="1" i="1" baseline="30000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2">
                    <a:lumMod val="25000"/>
                  </a:schemeClr>
                </a:solidFill>
                <a:effectLst/>
                <a:latin typeface="Monotype Corsiva" panose="03010101010201010101" pitchFamily="66" charset="0"/>
              </a:rPr>
              <a:t>th</a:t>
            </a:r>
            <a:r>
              <a:rPr lang="en-US" sz="4000" b="1" i="1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2">
                    <a:lumMod val="25000"/>
                  </a:schemeClr>
                </a:solidFill>
                <a:effectLst/>
                <a:latin typeface="Monotype Corsiva" panose="03010101010201010101" pitchFamily="66" charset="0"/>
              </a:rPr>
              <a:t> – January 31</a:t>
            </a:r>
            <a:r>
              <a:rPr lang="en-US" sz="4000" b="1" i="1" baseline="30000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2">
                    <a:lumMod val="25000"/>
                  </a:schemeClr>
                </a:solidFill>
                <a:effectLst/>
                <a:latin typeface="Monotype Corsiva" panose="03010101010201010101" pitchFamily="66" charset="0"/>
              </a:rPr>
              <a:t>st</a:t>
            </a:r>
            <a:endParaRPr lang="en-US" sz="4000" b="1" i="1" dirty="0">
              <a:ln w="3175">
                <a:solidFill>
                  <a:schemeClr val="bg1">
                    <a:lumMod val="75000"/>
                  </a:schemeClr>
                </a:solidFill>
              </a:ln>
              <a:solidFill>
                <a:schemeClr val="bg2">
                  <a:lumMod val="25000"/>
                </a:schemeClr>
              </a:solidFill>
              <a:effectLst/>
              <a:latin typeface="Monotype Corsiva" panose="03010101010201010101" pitchFamily="66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3F8B1C8-85EA-4163-8181-FB9A1521EC18}"/>
              </a:ext>
            </a:extLst>
          </p:cNvPr>
          <p:cNvSpPr/>
          <p:nvPr/>
        </p:nvSpPr>
        <p:spPr>
          <a:xfrm>
            <a:off x="5505991" y="4109240"/>
            <a:ext cx="3700213" cy="4596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rebuchet MS" panose="020B0603020202020204" pitchFamily="34" charset="0"/>
              </a:rPr>
              <a:t>Contact info #1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EDA58F0-0BD0-4FF7-8402-3F69B23662A2}"/>
              </a:ext>
            </a:extLst>
          </p:cNvPr>
          <p:cNvSpPr/>
          <p:nvPr/>
        </p:nvSpPr>
        <p:spPr>
          <a:xfrm>
            <a:off x="5505991" y="4782076"/>
            <a:ext cx="3700213" cy="4596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rebuchet MS" panose="020B0603020202020204" pitchFamily="34" charset="0"/>
              </a:rPr>
              <a:t>Contact info #2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F32121E-B552-4625-B920-7720C4000555}"/>
              </a:ext>
            </a:extLst>
          </p:cNvPr>
          <p:cNvSpPr/>
          <p:nvPr/>
        </p:nvSpPr>
        <p:spPr>
          <a:xfrm>
            <a:off x="5320980" y="3471461"/>
            <a:ext cx="4070234" cy="4596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Event date and time…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CF9F6F6-81DF-4339-BC90-4D60262F9052}"/>
              </a:ext>
            </a:extLst>
          </p:cNvPr>
          <p:cNvSpPr/>
          <p:nvPr/>
        </p:nvSpPr>
        <p:spPr>
          <a:xfrm>
            <a:off x="803739" y="6404444"/>
            <a:ext cx="3700213" cy="4596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12"/>
              </a:rPr>
              <a:t>www.hssus.org/sny</a:t>
            </a:r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214E94A-933C-4635-A00E-25584E598E09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60000"/>
          </a:blip>
          <a:stretch>
            <a:fillRect/>
          </a:stretch>
        </p:blipFill>
        <p:spPr>
          <a:xfrm>
            <a:off x="9857405" y="11048"/>
            <a:ext cx="2226399" cy="1315129"/>
          </a:xfrm>
          <a:prstGeom prst="rect">
            <a:avLst/>
          </a:prstGeom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13F9A420-4BA1-44EA-91B9-D3B897AA4CA5}"/>
              </a:ext>
            </a:extLst>
          </p:cNvPr>
          <p:cNvSpPr/>
          <p:nvPr/>
        </p:nvSpPr>
        <p:spPr>
          <a:xfrm>
            <a:off x="7301993" y="6404444"/>
            <a:ext cx="3700213" cy="4596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13"/>
              </a:rPr>
              <a:t>www.facebook.com/hssus</a:t>
            </a:r>
            <a:r>
              <a:rPr lang="en-US" sz="2000" b="1" i="1" dirty="0">
                <a:ln w="3175"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36" name="Picture 4" descr="Clipart designs black and white, Clipart designs black and white  Transparent FREE for download on WebStockReview 2020">
            <a:extLst>
              <a:ext uri="{FF2B5EF4-FFF2-40B4-BE49-F238E27FC236}">
                <a16:creationId xmlns:a16="http://schemas.microsoft.com/office/drawing/2014/main" id="{4A861C9B-6B72-49BF-A327-85F5A0C77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065600" y="3356352"/>
            <a:ext cx="3015488" cy="430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Clipart designs black and white, Clipart designs black and white  Transparent FREE for download on WebStockReview 2020">
            <a:extLst>
              <a:ext uri="{FF2B5EF4-FFF2-40B4-BE49-F238E27FC236}">
                <a16:creationId xmlns:a16="http://schemas.microsoft.com/office/drawing/2014/main" id="{68F09423-A140-4626-B671-440AA25B9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235468" y="3356354"/>
            <a:ext cx="3015492" cy="430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7" descr="Decorations Clipart Title - Gold Line Design Png, Transparent Png ,  Transparent Png Image - PNGitem">
            <a:extLst>
              <a:ext uri="{FF2B5EF4-FFF2-40B4-BE49-F238E27FC236}">
                <a16:creationId xmlns:a16="http://schemas.microsoft.com/office/drawing/2014/main" id="{8F157ECA-72B2-406C-B84E-2BE456B516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alphaModFix amt="45000"/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0" b="61568"/>
          <a:stretch/>
        </p:blipFill>
        <p:spPr bwMode="auto">
          <a:xfrm>
            <a:off x="2000250" y="804836"/>
            <a:ext cx="8191500" cy="44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Qr code&#10;&#10;Description automatically generated">
            <a:extLst>
              <a:ext uri="{FF2B5EF4-FFF2-40B4-BE49-F238E27FC236}">
                <a16:creationId xmlns:a16="http://schemas.microsoft.com/office/drawing/2014/main" id="{639581B6-8703-4302-AE94-6E6C4B7D349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486" y="5363420"/>
            <a:ext cx="1005840" cy="10058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CBE2057-109F-414C-B249-0AA96A05DF6A}"/>
              </a:ext>
            </a:extLst>
          </p:cNvPr>
          <p:cNvSpPr/>
          <p:nvPr/>
        </p:nvSpPr>
        <p:spPr>
          <a:xfrm rot="19807286">
            <a:off x="783160" y="3371703"/>
            <a:ext cx="4290119" cy="61180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 dirty="0">
                <a:ln w="6600">
                  <a:solidFill>
                    <a:schemeClr val="accent2">
                      <a:lumMod val="75000"/>
                    </a:schemeClr>
                  </a:solidFill>
                  <a:prstDash val="solid"/>
                </a:ln>
                <a:solidFill>
                  <a:schemeClr val="bg2">
                    <a:lumMod val="25000"/>
                  </a:schemeClr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Bradley Hand ITC" panose="03070402050302030203" pitchFamily="66" charset="0"/>
              </a:rPr>
              <a:t>Healthy families… </a:t>
            </a:r>
          </a:p>
          <a:p>
            <a:pPr algn="ctr"/>
            <a:r>
              <a:rPr lang="en-US" sz="2800" b="1" i="1" dirty="0">
                <a:ln w="6600">
                  <a:solidFill>
                    <a:schemeClr val="accent2">
                      <a:lumMod val="75000"/>
                    </a:schemeClr>
                  </a:solidFill>
                  <a:prstDash val="solid"/>
                </a:ln>
                <a:solidFill>
                  <a:schemeClr val="bg2">
                    <a:lumMod val="25000"/>
                  </a:schemeClr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Bradley Hand ITC" panose="03070402050302030203" pitchFamily="66" charset="0"/>
              </a:rPr>
              <a:t>Healthy community!</a:t>
            </a:r>
          </a:p>
        </p:txBody>
      </p:sp>
    </p:spTree>
    <p:extLst>
      <p:ext uri="{BB962C8B-B14F-4D97-AF65-F5344CB8AC3E}">
        <p14:creationId xmlns:p14="http://schemas.microsoft.com/office/powerpoint/2010/main" val="2011450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29</TotalTime>
  <Words>4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Bell MT</vt:lpstr>
      <vt:lpstr>Bradley Hand ITC</vt:lpstr>
      <vt:lpstr>Calibri</vt:lpstr>
      <vt:lpstr>Calibri Light</vt:lpstr>
      <vt:lpstr>Monotype Corsiva</vt:lpstr>
      <vt:lpstr>Times New Roman</vt:lpstr>
      <vt:lpstr>Trebuchet MS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yamprasad Radhakrishna</dc:creator>
  <cp:lastModifiedBy>Joshi, Ajay (Nokia - US/Dallas)</cp:lastModifiedBy>
  <cp:revision>25</cp:revision>
  <dcterms:created xsi:type="dcterms:W3CDTF">2020-12-02T04:41:43Z</dcterms:created>
  <dcterms:modified xsi:type="dcterms:W3CDTF">2020-12-12T21:15:42Z</dcterms:modified>
</cp:coreProperties>
</file>